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29"/>
  </p:notesMasterIdLst>
  <p:sldIdLst>
    <p:sldId id="307" r:id="rId2"/>
    <p:sldId id="308" r:id="rId3"/>
    <p:sldId id="309" r:id="rId4"/>
    <p:sldId id="310" r:id="rId5"/>
    <p:sldId id="311" r:id="rId6"/>
    <p:sldId id="312" r:id="rId7"/>
    <p:sldId id="313" r:id="rId8"/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2" r:id="rId17"/>
    <p:sldId id="323" r:id="rId18"/>
    <p:sldId id="329" r:id="rId19"/>
    <p:sldId id="330" r:id="rId20"/>
    <p:sldId id="331" r:id="rId21"/>
    <p:sldId id="332" r:id="rId22"/>
    <p:sldId id="333" r:id="rId23"/>
    <p:sldId id="334" r:id="rId24"/>
    <p:sldId id="335" r:id="rId25"/>
    <p:sldId id="336" r:id="rId26"/>
    <p:sldId id="337" r:id="rId27"/>
    <p:sldId id="338" r:id="rId2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69D3"/>
    <a:srgbClr val="9A9EAA"/>
    <a:srgbClr val="E5D2C4"/>
    <a:srgbClr val="F1DCC7"/>
    <a:srgbClr val="F5E1C8"/>
    <a:srgbClr val="FCF1D1"/>
    <a:srgbClr val="FAF9DB"/>
    <a:srgbClr val="BFBFBF"/>
    <a:srgbClr val="DEE3EA"/>
    <a:srgbClr val="BEC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279" autoAdjust="0"/>
    <p:restoredTop sz="94660"/>
  </p:normalViewPr>
  <p:slideViewPr>
    <p:cSldViewPr snapToGrid="0" showGuides="1">
      <p:cViewPr varScale="1">
        <p:scale>
          <a:sx n="72" d="100"/>
          <a:sy n="72" d="100"/>
        </p:scale>
        <p:origin x="894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18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8" y="1412875"/>
            <a:ext cx="6910141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MCB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154162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>
                <a:solidFill>
                  <a:schemeClr val="tx1"/>
                </a:solidFill>
                <a:latin typeface="BMW Group Condensed" panose="020B0606020202020204" pitchFamily="34" charset="0"/>
              </a:rPr>
              <a:t>Products Selection (Dealer &amp; Vehicle)</a:t>
            </a:r>
            <a:endParaRPr lang="en-US" altLang="zh-CN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3473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2</a:t>
            </a:r>
            <a:br>
              <a:rPr lang="en-US" dirty="0"/>
            </a:br>
            <a:r>
              <a:rPr lang="en-US" dirty="0"/>
              <a:t>Vehicle Information an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821836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</a:t>
            </a:r>
            <a:r>
              <a:rPr lang="en-US" dirty="0"/>
              <a:t>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Vehicle Information an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37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Vehicle Information and Pictur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18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4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Select Dealershi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chose the dealership of the car I would like to purchase / finance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so </a:t>
            </a:r>
            <a:r>
              <a:rPr lang="en-US" dirty="0"/>
              <a:t>that I can continue the process later on in my next visit and so that I can get the dealer specific vehicle / finance product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Customer </a:t>
            </a:r>
            <a:r>
              <a:rPr lang="en-US" sz="1600" dirty="0">
                <a:solidFill>
                  <a:srgbClr val="172B4D"/>
                </a:solidFill>
              </a:rPr>
              <a:t>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  <a:endParaRPr lang="en-US" sz="1600" dirty="0" smtClean="0">
              <a:solidFill>
                <a:srgbClr val="172B4D"/>
              </a:solidFill>
            </a:endParaRP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 Customer should be allowed to filter BMW </a:t>
            </a:r>
            <a:r>
              <a:rPr lang="en-US" sz="1600" dirty="0" smtClean="0">
                <a:solidFill>
                  <a:srgbClr val="172B4D"/>
                </a:solidFill>
              </a:rPr>
              <a:t>Dealership </a:t>
            </a:r>
            <a:r>
              <a:rPr lang="en-US" sz="1600" dirty="0">
                <a:solidFill>
                  <a:srgbClr val="172B4D"/>
                </a:solidFill>
              </a:rPr>
              <a:t>from various filter parameters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 Most up to date </a:t>
            </a:r>
            <a:r>
              <a:rPr lang="en-US" sz="1600" dirty="0" smtClean="0">
                <a:solidFill>
                  <a:srgbClr val="172B4D"/>
                </a:solidFill>
              </a:rPr>
              <a:t>dealership information </a:t>
            </a:r>
            <a:r>
              <a:rPr lang="en-US" sz="1600" dirty="0">
                <a:solidFill>
                  <a:srgbClr val="172B4D"/>
                </a:solidFill>
              </a:rPr>
              <a:t>is available for customer to choose. 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selected Province / City (drop down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User selected dealer from dropdown list predefined and filtered by city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Once the </a:t>
            </a:r>
            <a:r>
              <a:rPr lang="en-US" sz="1600" dirty="0" smtClean="0">
                <a:solidFill>
                  <a:srgbClr val="172B4D"/>
                </a:solidFill>
              </a:rPr>
              <a:t>dealership the user can continue to select the vehicle</a:t>
            </a:r>
            <a:endParaRPr lang="en-US" sz="16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The user can click back button and enters landing page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endParaRPr lang="en-US" sz="1600" dirty="0" smtClean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510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7272" y="1592428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415" y="342900"/>
            <a:ext cx="11224685" cy="701474"/>
          </a:xfrm>
        </p:spPr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4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elect Dealershi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8" name="Freeform 7"/>
          <p:cNvSpPr/>
          <p:nvPr/>
        </p:nvSpPr>
        <p:spPr>
          <a:xfrm>
            <a:off x="7541309" y="3293385"/>
            <a:ext cx="1272245" cy="1101904"/>
          </a:xfrm>
          <a:custGeom>
            <a:avLst/>
            <a:gdLst>
              <a:gd name="connsiteX0" fmla="*/ 0 w 1272245"/>
              <a:gd name="connsiteY0" fmla="*/ 0 h 1101904"/>
              <a:gd name="connsiteX1" fmla="*/ 1272245 w 1272245"/>
              <a:gd name="connsiteY1" fmla="*/ 0 h 1101904"/>
              <a:gd name="connsiteX2" fmla="*/ 1272245 w 1272245"/>
              <a:gd name="connsiteY2" fmla="*/ 1101904 h 1101904"/>
              <a:gd name="connsiteX3" fmla="*/ 0 w 1272245"/>
              <a:gd name="connsiteY3" fmla="*/ 1101904 h 1101904"/>
              <a:gd name="connsiteX4" fmla="*/ 0 w 1272245"/>
              <a:gd name="connsiteY4" fmla="*/ 0 h 1101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1101904">
                <a:moveTo>
                  <a:pt x="0" y="0"/>
                </a:moveTo>
                <a:lnTo>
                  <a:pt x="1272245" y="0"/>
                </a:lnTo>
                <a:lnTo>
                  <a:pt x="1272245" y="1101904"/>
                </a:lnTo>
                <a:lnTo>
                  <a:pt x="0" y="110190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0" tIns="30480" rIns="30480" bIns="30480" numCol="1" spcCol="1270" anchor="t" anchorCtr="0">
            <a:no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- Province</a:t>
            </a:r>
            <a:r>
              <a:rPr lang="en-US" sz="1200" dirty="0"/>
              <a:t> </a:t>
            </a:r>
            <a:r>
              <a:rPr lang="en-US" sz="1200" dirty="0" smtClean="0"/>
              <a:t>/ </a:t>
            </a:r>
            <a:r>
              <a:rPr lang="en-US" sz="1200" kern="1200" dirty="0" smtClean="0"/>
              <a:t>City</a:t>
            </a:r>
          </a:p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200" kern="1200" dirty="0" smtClean="0"/>
              <a:t>- Dealer</a:t>
            </a:r>
            <a:endParaRPr lang="en-US" sz="1200" kern="1200" dirty="0"/>
          </a:p>
        </p:txBody>
      </p:sp>
      <p:sp>
        <p:nvSpPr>
          <p:cNvPr id="11" name="Freeform 10"/>
          <p:cNvSpPr/>
          <p:nvPr/>
        </p:nvSpPr>
        <p:spPr>
          <a:xfrm>
            <a:off x="7532842" y="2863331"/>
            <a:ext cx="1272245" cy="430054"/>
          </a:xfrm>
          <a:custGeom>
            <a:avLst/>
            <a:gdLst>
              <a:gd name="connsiteX0" fmla="*/ 0 w 1272245"/>
              <a:gd name="connsiteY0" fmla="*/ 0 h 430054"/>
              <a:gd name="connsiteX1" fmla="*/ 1272245 w 1272245"/>
              <a:gd name="connsiteY1" fmla="*/ 0 h 430054"/>
              <a:gd name="connsiteX2" fmla="*/ 1272245 w 1272245"/>
              <a:gd name="connsiteY2" fmla="*/ 430054 h 430054"/>
              <a:gd name="connsiteX3" fmla="*/ 0 w 1272245"/>
              <a:gd name="connsiteY3" fmla="*/ 430054 h 430054"/>
              <a:gd name="connsiteX4" fmla="*/ 0 w 1272245"/>
              <a:gd name="connsiteY4" fmla="*/ 0 h 4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430054">
                <a:moveTo>
                  <a:pt x="0" y="0"/>
                </a:moveTo>
                <a:lnTo>
                  <a:pt x="1272245" y="0"/>
                </a:lnTo>
                <a:lnTo>
                  <a:pt x="1272245" y="430054"/>
                </a:lnTo>
                <a:lnTo>
                  <a:pt x="0" y="4300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40" tIns="40640" rIns="40640" bIns="40640" numCol="1" spcCol="1270" anchor="b" anchorCtr="0">
            <a:noAutofit/>
          </a:bodyPr>
          <a:lstStyle/>
          <a:p>
            <a:pPr lvl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Select Dealer</a:t>
            </a:r>
            <a:endParaRPr lang="en-US" sz="1600" kern="1200" dirty="0"/>
          </a:p>
        </p:txBody>
      </p:sp>
      <p:sp>
        <p:nvSpPr>
          <p:cNvPr id="20" name="Rectangle 19"/>
          <p:cNvSpPr/>
          <p:nvPr/>
        </p:nvSpPr>
        <p:spPr>
          <a:xfrm>
            <a:off x="4757272" y="2430917"/>
            <a:ext cx="2579898" cy="99808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97426" y="1526796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119019" y="1526795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23649" y="2488973"/>
            <a:ext cx="914400" cy="2977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023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</a:t>
            </a:r>
            <a:r>
              <a:rPr lang="en-US" dirty="0" smtClean="0"/>
              <a:t>ID</a:t>
            </a:r>
            <a:r>
              <a:rPr lang="en-US" dirty="0"/>
              <a:t>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Select Dealershi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998978" y="1412874"/>
            <a:ext cx="5714656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24220" y="1412875"/>
            <a:ext cx="2819930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831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48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350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Oval 13"/>
          <p:cNvSpPr/>
          <p:nvPr/>
        </p:nvSpPr>
        <p:spPr>
          <a:xfrm>
            <a:off x="1552575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1628774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5266890" y="2344738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5343089" y="2420937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181040" y="293052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257239" y="300672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357251" y="5430839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4433450" y="5507038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8083886" y="39163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8160085" y="39925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6998417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7074616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8180004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8256203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7174628" y="5415982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7250827" y="5492181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6066831" y="3840163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6143030" y="3916362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697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8829745" y="2258560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10907618" y="2544762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845974" y="2544762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839152" y="4043817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897380" y="3340099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856306" y="4128403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9092962" y="4420054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38" name="Oval 37"/>
          <p:cNvSpPr/>
          <p:nvPr/>
        </p:nvSpPr>
        <p:spPr>
          <a:xfrm>
            <a:off x="10358070" y="431392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10434269" y="439012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9791080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9867279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308878" y="2389187"/>
            <a:ext cx="914400" cy="2977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143030" y="2376486"/>
            <a:ext cx="914400" cy="2977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917916" y="4866102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2449219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</a:t>
            </a:r>
            <a:r>
              <a:rPr lang="en-US" dirty="0"/>
              <a:t>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Select Dealershi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227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Select Dealership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6450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5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Quotation Price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adjust the MSRP to the agreed quotation price so that I can finance the quotation price </a:t>
            </a: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&amp; </a:t>
            </a:r>
            <a:r>
              <a:rPr lang="en-US" sz="1600" dirty="0"/>
              <a:t>so that I can get a binding offer from the dealer</a:t>
            </a:r>
          </a:p>
          <a:p>
            <a:pPr mar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2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200" dirty="0">
                <a:solidFill>
                  <a:srgbClr val="172B4D"/>
                </a:solidFill>
              </a:rPr>
              <a:t>The transaction price is already negotiated offline between user and sales manager</a:t>
            </a:r>
          </a:p>
          <a:p>
            <a:r>
              <a:rPr lang="en-US" sz="12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2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  <a:endParaRPr lang="en-US" sz="1200" dirty="0" smtClean="0">
              <a:solidFill>
                <a:srgbClr val="172B4D"/>
              </a:solidFill>
            </a:endParaRPr>
          </a:p>
          <a:p>
            <a:r>
              <a:rPr lang="en-US" sz="1200" dirty="0" smtClean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r>
              <a:rPr lang="en-US" sz="1200" dirty="0" smtClean="0">
                <a:solidFill>
                  <a:srgbClr val="172B4D"/>
                </a:solidFill>
              </a:rPr>
              <a:t>Dependency with the binding offer management (DFE Review and Audit) EF-EP-005-ES-S 001, ES-S 002 &amp; ES-S 004</a:t>
            </a:r>
            <a:endParaRPr lang="en-US" sz="12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200" dirty="0">
                <a:solidFill>
                  <a:srgbClr val="172B4D"/>
                </a:solidFill>
              </a:rPr>
              <a:t>Customer should be allowed to </a:t>
            </a:r>
            <a:r>
              <a:rPr lang="en-US" sz="1200" dirty="0" smtClean="0">
                <a:solidFill>
                  <a:srgbClr val="172B4D"/>
                </a:solidFill>
              </a:rPr>
              <a:t>enter Quotation price into the free box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rgbClr val="172B4D"/>
                </a:solidFill>
              </a:rPr>
              <a:t>The right dealership is selected by the user (EF-EP-004-ES-S 004 / ES-S 006)</a:t>
            </a:r>
            <a:endParaRPr lang="en-US" sz="12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User enters the transaction price into the empty box and clicks submit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Disclaimer is shown (vehicle availability and price is to be confirmed by dealer)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For user the summary page is shown and a button to refresh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F&amp;I searches by phone number / name the application ID in the DFE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The vehicle data and the transaction price is prefilled in DFE </a:t>
            </a:r>
          </a:p>
          <a:p>
            <a:pPr marL="342900" lvl="0" indent="-342900">
              <a:buAutoNum type="arabicPeriod"/>
            </a:pPr>
            <a:endParaRPr lang="en-US" sz="12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2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2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299607" y="3447143"/>
            <a:ext cx="3187135" cy="230832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What happens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if the quotation price is not confirmed?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&amp;I overwrites in DFE, confirms and the newly submitted transaction price is synchronize to the User. User cannot change the price submitted by the dealer.</a:t>
            </a:r>
            <a:endParaRPr lang="en-US" sz="1800" b="0" i="0" u="none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230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051" y="1412875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4814099" y="2138812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20" name="Rectangle 19"/>
          <p:cNvSpPr/>
          <p:nvPr/>
        </p:nvSpPr>
        <p:spPr>
          <a:xfrm>
            <a:off x="6891972" y="2425014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830328" y="2425014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823506" y="3924069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881734" y="3220351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840660" y="4008655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077316" y="4300306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57" name="Rectangle 56"/>
          <p:cNvSpPr/>
          <p:nvPr/>
        </p:nvSpPr>
        <p:spPr>
          <a:xfrm>
            <a:off x="4881734" y="4786491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3580871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4: </a:t>
            </a:r>
            <a:r>
              <a:rPr lang="en-US" b="0" dirty="0"/>
              <a:t>Products Selection (Dealer &amp; Vehicle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1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want </a:t>
            </a:r>
            <a:r>
              <a:rPr lang="en-US" dirty="0"/>
              <a:t>to select the </a:t>
            </a:r>
            <a:r>
              <a:rPr lang="en-US" dirty="0" smtClean="0"/>
              <a:t>vehicle so </a:t>
            </a:r>
            <a:r>
              <a:rPr lang="en-US" dirty="0"/>
              <a:t>that I can start the finance application process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2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 </a:t>
            </a:r>
            <a:r>
              <a:rPr lang="en-US" dirty="0" smtClean="0"/>
              <a:t>I </a:t>
            </a:r>
            <a:r>
              <a:rPr lang="en-US" dirty="0"/>
              <a:t>want to have the information of the vehicle displayed (pictures, options</a:t>
            </a:r>
            <a:r>
              <a:rPr lang="en-US" dirty="0" smtClean="0"/>
              <a:t>,...) so </a:t>
            </a:r>
            <a:r>
              <a:rPr lang="en-US" dirty="0"/>
              <a:t>that I can see which car I want to purchase / finance. 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3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XXX 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4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</a:t>
            </a:r>
            <a:r>
              <a:rPr lang="en-US" dirty="0"/>
              <a:t>want to chose the dealership of the car I would like to purchase / </a:t>
            </a:r>
            <a:r>
              <a:rPr lang="en-US" dirty="0" smtClean="0"/>
              <a:t>finance so </a:t>
            </a:r>
            <a:r>
              <a:rPr lang="en-US" dirty="0"/>
              <a:t>that I can continue the process later on in my next </a:t>
            </a:r>
            <a:r>
              <a:rPr lang="en-US" dirty="0" smtClean="0"/>
              <a:t>visit and so </a:t>
            </a:r>
            <a:r>
              <a:rPr lang="en-US" dirty="0"/>
              <a:t>that I can get the dealer specific vehicle / finance </a:t>
            </a:r>
            <a:r>
              <a:rPr lang="en-US" dirty="0" smtClean="0"/>
              <a:t>product.</a:t>
            </a:r>
            <a:endParaRPr lang="en-US" dirty="0"/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5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 </a:t>
            </a:r>
            <a:r>
              <a:rPr lang="en-US" dirty="0" smtClean="0"/>
              <a:t>I </a:t>
            </a:r>
            <a:r>
              <a:rPr lang="en-US" dirty="0"/>
              <a:t>want to adjust the MSRP to the agreed quotation </a:t>
            </a:r>
            <a:r>
              <a:rPr lang="en-US" dirty="0" smtClean="0"/>
              <a:t>price so </a:t>
            </a:r>
            <a:r>
              <a:rPr lang="en-US" dirty="0"/>
              <a:t>that I can finance the quotation </a:t>
            </a:r>
            <a:r>
              <a:rPr lang="en-US" dirty="0" smtClean="0"/>
              <a:t>price &amp; so </a:t>
            </a:r>
            <a:r>
              <a:rPr lang="en-US" dirty="0"/>
              <a:t>that I can get a binding offer from the </a:t>
            </a:r>
            <a:r>
              <a:rPr lang="en-US" dirty="0" smtClean="0"/>
              <a:t>dealer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6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I </a:t>
            </a:r>
            <a:r>
              <a:rPr lang="en-US" dirty="0"/>
              <a:t>want the Dealer automatically </a:t>
            </a:r>
            <a:r>
              <a:rPr lang="en-US" dirty="0" smtClean="0"/>
              <a:t>pre-filled</a:t>
            </a:r>
            <a:r>
              <a:rPr lang="en-US" dirty="0"/>
              <a:t> </a:t>
            </a:r>
            <a:r>
              <a:rPr lang="en-US" dirty="0" smtClean="0"/>
              <a:t>so </a:t>
            </a:r>
            <a:r>
              <a:rPr lang="en-US" dirty="0"/>
              <a:t>that I don't have to search for the specific dealer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90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>
          <a:xfrm>
            <a:off x="2550961" y="1526795"/>
            <a:ext cx="9672822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100" y="1827407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235980" y="2443191"/>
            <a:ext cx="2184052" cy="1514364"/>
          </a:xfrm>
          <a:prstGeom prst="rect">
            <a:avLst/>
          </a:prstGeom>
          <a:ln>
            <a:noFill/>
          </a:ln>
        </p:spPr>
      </p:pic>
      <p:sp>
        <p:nvSpPr>
          <p:cNvPr id="21" name="Rectangle 20"/>
          <p:cNvSpPr/>
          <p:nvPr/>
        </p:nvSpPr>
        <p:spPr>
          <a:xfrm>
            <a:off x="2012388" y="2685965"/>
            <a:ext cx="422309" cy="4201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49855" y="2685965"/>
            <a:ext cx="422309" cy="35550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44023" y="3957556"/>
            <a:ext cx="2176010" cy="115097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93803" y="3360619"/>
            <a:ext cx="2089952" cy="3220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58688" y="4029307"/>
            <a:ext cx="2089952" cy="3220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61009" y="4276703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27" name="Oval 26"/>
          <p:cNvSpPr/>
          <p:nvPr/>
        </p:nvSpPr>
        <p:spPr>
          <a:xfrm>
            <a:off x="1542571" y="418667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1607714" y="4251313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1176131" y="5106989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1241275" y="5171626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26" name="19C8329D-8067-44C8-A008-4ECECB47C3A5" descr="19C8329D-8067-44C8-A008-4ECECB47C3A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61"/>
          <a:stretch/>
        </p:blipFill>
        <p:spPr bwMode="auto">
          <a:xfrm>
            <a:off x="41090" y="7012462"/>
            <a:ext cx="2384576" cy="1298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-2248360" y="1827407"/>
            <a:ext cx="2260049" cy="3892483"/>
            <a:chOff x="-2491673" y="1827407"/>
            <a:chExt cx="2617998" cy="4588778"/>
          </a:xfrm>
        </p:grpSpPr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491673" y="1827407"/>
              <a:ext cx="2579898" cy="4588778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53" name="Oval 52"/>
            <p:cNvSpPr/>
            <p:nvPr/>
          </p:nvSpPr>
          <p:spPr>
            <a:xfrm>
              <a:off x="-474618" y="4211148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4" name="Oval 53"/>
            <p:cNvSpPr/>
            <p:nvPr/>
          </p:nvSpPr>
          <p:spPr>
            <a:xfrm>
              <a:off x="-398419" y="4287347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-1560087" y="4896948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-1483888" y="4973147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-378500" y="4896948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-302301" y="4973147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-1383876" y="5710766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-1307677" y="5786965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-2491673" y="4134947"/>
              <a:ext cx="504825" cy="485775"/>
            </a:xfrm>
            <a:prstGeom prst="ellipse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-2415474" y="4211146"/>
              <a:ext cx="352425" cy="333375"/>
            </a:xfrm>
            <a:prstGeom prst="ellipse">
              <a:avLst/>
            </a:prstGeom>
            <a:solidFill>
              <a:srgbClr val="FFC000">
                <a:alpha val="60000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-2415474" y="2671270"/>
              <a:ext cx="914400" cy="29776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endParaRPr>
            </a:p>
          </p:txBody>
        </p:sp>
      </p:grpSp>
      <p:sp>
        <p:nvSpPr>
          <p:cNvPr id="65" name="Rectangle 64"/>
          <p:cNvSpPr/>
          <p:nvPr/>
        </p:nvSpPr>
        <p:spPr>
          <a:xfrm>
            <a:off x="315697" y="4635486"/>
            <a:ext cx="2032943" cy="40686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9281" y="1827407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6"/>
          <a:srcRect t="20650" b="12051"/>
          <a:stretch/>
        </p:blipFill>
        <p:spPr>
          <a:xfrm>
            <a:off x="2769281" y="2498762"/>
            <a:ext cx="2205596" cy="2625753"/>
          </a:xfrm>
          <a:prstGeom prst="rect">
            <a:avLst/>
          </a:prstGeom>
        </p:spPr>
      </p:pic>
      <p:sp>
        <p:nvSpPr>
          <p:cNvPr id="70" name="Oval 69"/>
          <p:cNvSpPr/>
          <p:nvPr/>
        </p:nvSpPr>
        <p:spPr>
          <a:xfrm>
            <a:off x="4539203" y="2678286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1" name="Oval 70"/>
          <p:cNvSpPr/>
          <p:nvPr/>
        </p:nvSpPr>
        <p:spPr>
          <a:xfrm>
            <a:off x="4604346" y="2742923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2" name="Oval 71"/>
          <p:cNvSpPr/>
          <p:nvPr/>
        </p:nvSpPr>
        <p:spPr>
          <a:xfrm>
            <a:off x="3466811" y="3543750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3" name="Oval 72"/>
          <p:cNvSpPr/>
          <p:nvPr/>
        </p:nvSpPr>
        <p:spPr>
          <a:xfrm>
            <a:off x="3531954" y="3608387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4" name="Oval 73"/>
          <p:cNvSpPr/>
          <p:nvPr/>
        </p:nvSpPr>
        <p:spPr>
          <a:xfrm>
            <a:off x="4108016" y="421626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5" name="Oval 74"/>
          <p:cNvSpPr/>
          <p:nvPr/>
        </p:nvSpPr>
        <p:spPr>
          <a:xfrm>
            <a:off x="4173159" y="428090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6" name="Oval 75"/>
          <p:cNvSpPr/>
          <p:nvPr/>
        </p:nvSpPr>
        <p:spPr>
          <a:xfrm>
            <a:off x="3674806" y="5109695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7" name="Oval 76"/>
          <p:cNvSpPr/>
          <p:nvPr/>
        </p:nvSpPr>
        <p:spPr>
          <a:xfrm>
            <a:off x="3739949" y="5174332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600" y="1827407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1" name="Picture 9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3088" y="1827407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3" name="Oval 82"/>
          <p:cNvSpPr/>
          <p:nvPr/>
        </p:nvSpPr>
        <p:spPr>
          <a:xfrm>
            <a:off x="6163151" y="508713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4" name="Oval 83"/>
          <p:cNvSpPr/>
          <p:nvPr/>
        </p:nvSpPr>
        <p:spPr>
          <a:xfrm>
            <a:off x="6228294" y="515176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28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488948" y="2038778"/>
            <a:ext cx="1114097" cy="387366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Quotation Price</a:t>
            </a:r>
            <a:r>
              <a:rPr lang="en-US" sz="14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Confirmation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625905" y="293051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>
          <a:xfrm>
            <a:off x="2335045" y="2114279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Main Applicant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625905" y="5321761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2357905" y="4731075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F&amp;I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357905" y="3422677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Co-Borrower /Guarantor</a:t>
            </a:r>
          </a:p>
        </p:txBody>
      </p:sp>
    </p:spTree>
    <p:extLst>
      <p:ext uri="{BB962C8B-B14F-4D97-AF65-F5344CB8AC3E}">
        <p14:creationId xmlns:p14="http://schemas.microsoft.com/office/powerpoint/2010/main" val="1494057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5</a:t>
            </a:r>
            <a:br>
              <a:rPr lang="en-US" dirty="0"/>
            </a:br>
            <a:r>
              <a:rPr lang="en-US" dirty="0"/>
              <a:t>Quotation Pr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894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351039"/>
            <a:ext cx="11224685" cy="701474"/>
          </a:xfrm>
        </p:spPr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6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 smtClean="0"/>
              <a:t>LBS Dealership selectio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 want the Dealer automatically pre-filled so that I don't have to search for the specific dealer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Customer </a:t>
            </a:r>
            <a:r>
              <a:rPr lang="en-US" sz="1600" dirty="0">
                <a:solidFill>
                  <a:srgbClr val="172B4D"/>
                </a:solidFill>
              </a:rPr>
              <a:t>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accepted location based services and GPS is usable and activated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clicks on the on the LBS icon, city and dealer are prefilled based on the GPS location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can overwrite the prefilled information by clicking and selecting from the dropdown list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412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20" name="Freeform 19"/>
          <p:cNvSpPr/>
          <p:nvPr/>
        </p:nvSpPr>
        <p:spPr>
          <a:xfrm>
            <a:off x="7399721" y="2356481"/>
            <a:ext cx="1272245" cy="1101904"/>
          </a:xfrm>
          <a:custGeom>
            <a:avLst/>
            <a:gdLst>
              <a:gd name="connsiteX0" fmla="*/ 0 w 1272245"/>
              <a:gd name="connsiteY0" fmla="*/ 0 h 1101904"/>
              <a:gd name="connsiteX1" fmla="*/ 1272245 w 1272245"/>
              <a:gd name="connsiteY1" fmla="*/ 0 h 1101904"/>
              <a:gd name="connsiteX2" fmla="*/ 1272245 w 1272245"/>
              <a:gd name="connsiteY2" fmla="*/ 1101904 h 1101904"/>
              <a:gd name="connsiteX3" fmla="*/ 0 w 1272245"/>
              <a:gd name="connsiteY3" fmla="*/ 1101904 h 1101904"/>
              <a:gd name="connsiteX4" fmla="*/ 0 w 1272245"/>
              <a:gd name="connsiteY4" fmla="*/ 0 h 1101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1101904">
                <a:moveTo>
                  <a:pt x="0" y="0"/>
                </a:moveTo>
                <a:lnTo>
                  <a:pt x="1272245" y="0"/>
                </a:lnTo>
                <a:lnTo>
                  <a:pt x="1272245" y="1101904"/>
                </a:lnTo>
                <a:lnTo>
                  <a:pt x="0" y="110190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0" tIns="30480" rIns="30480" bIns="30480" numCol="1" spcCol="1270" anchor="t" anchorCtr="0">
            <a:no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200" kern="1200" dirty="0"/>
          </a:p>
        </p:txBody>
      </p:sp>
      <p:sp>
        <p:nvSpPr>
          <p:cNvPr id="21" name="Freeform 20"/>
          <p:cNvSpPr/>
          <p:nvPr/>
        </p:nvSpPr>
        <p:spPr>
          <a:xfrm>
            <a:off x="7427265" y="1949185"/>
            <a:ext cx="2386570" cy="1232166"/>
          </a:xfrm>
          <a:custGeom>
            <a:avLst/>
            <a:gdLst>
              <a:gd name="connsiteX0" fmla="*/ 0 w 1272245"/>
              <a:gd name="connsiteY0" fmla="*/ 0 h 430054"/>
              <a:gd name="connsiteX1" fmla="*/ 1272245 w 1272245"/>
              <a:gd name="connsiteY1" fmla="*/ 0 h 430054"/>
              <a:gd name="connsiteX2" fmla="*/ 1272245 w 1272245"/>
              <a:gd name="connsiteY2" fmla="*/ 430054 h 430054"/>
              <a:gd name="connsiteX3" fmla="*/ 0 w 1272245"/>
              <a:gd name="connsiteY3" fmla="*/ 430054 h 430054"/>
              <a:gd name="connsiteX4" fmla="*/ 0 w 1272245"/>
              <a:gd name="connsiteY4" fmla="*/ 0 h 430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245" h="430054">
                <a:moveTo>
                  <a:pt x="0" y="0"/>
                </a:moveTo>
                <a:lnTo>
                  <a:pt x="1272245" y="0"/>
                </a:lnTo>
                <a:lnTo>
                  <a:pt x="1272245" y="430054"/>
                </a:lnTo>
                <a:lnTo>
                  <a:pt x="0" y="4300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40" tIns="40640" rIns="40640" bIns="40640" numCol="1" spcCol="1270" anchor="b" anchorCtr="0">
            <a:noAutofit/>
          </a:bodyPr>
          <a:lstStyle/>
          <a:p>
            <a:pPr lvl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Select Dealer by location based service. Prefill of: 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/>
              <a:t>- Province / City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600" dirty="0"/>
              <a:t>- </a:t>
            </a:r>
            <a:r>
              <a:rPr lang="en-US" altLang="zh-CN" sz="1600" dirty="0" smtClean="0"/>
              <a:t>Dealer</a:t>
            </a:r>
            <a:endParaRPr lang="en-US" sz="16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051" y="1610184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Rectangle 13"/>
          <p:cNvSpPr/>
          <p:nvPr/>
        </p:nvSpPr>
        <p:spPr>
          <a:xfrm>
            <a:off x="4806051" y="2448673"/>
            <a:ext cx="2579898" cy="100971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11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998978" y="1412874"/>
            <a:ext cx="5714656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24220" y="1412875"/>
            <a:ext cx="2819930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831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48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350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Oval 12"/>
          <p:cNvSpPr/>
          <p:nvPr/>
        </p:nvSpPr>
        <p:spPr>
          <a:xfrm>
            <a:off x="1552575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628774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3266681" y="23018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3342880" y="23780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357251" y="5430839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433450" y="5507038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8083886" y="39163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8160085" y="39925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6998417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7074616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8180004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8256203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7174628" y="5415982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7250827" y="5492181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6066831" y="3840163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6143030" y="3916362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697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8829745" y="2258560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33" name="Rectangle 32"/>
          <p:cNvSpPr/>
          <p:nvPr/>
        </p:nvSpPr>
        <p:spPr>
          <a:xfrm>
            <a:off x="10907618" y="2544762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845974" y="2544762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839152" y="4043817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897380" y="3340099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856306" y="4128403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9092962" y="4420054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39" name="Oval 38"/>
          <p:cNvSpPr/>
          <p:nvPr/>
        </p:nvSpPr>
        <p:spPr>
          <a:xfrm>
            <a:off x="10358070" y="431392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10434269" y="439012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9791080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9867279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8897380" y="4875898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213846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984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/>
              <a:t>ES-S 006</a:t>
            </a:r>
            <a:br>
              <a:rPr lang="en-US" dirty="0"/>
            </a:br>
            <a:r>
              <a:rPr lang="en-US" dirty="0"/>
              <a:t>LBS Dealership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6238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1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select the vehicle so that I can start the finance application process</a:t>
            </a: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400" dirty="0">
                <a:solidFill>
                  <a:srgbClr val="172B4D"/>
                </a:solidFill>
              </a:rPr>
              <a:t>The vehicle is already chosen and no pipeline check necessary</a:t>
            </a:r>
          </a:p>
          <a:p>
            <a:r>
              <a:rPr lang="en-US" sz="1400" dirty="0">
                <a:solidFill>
                  <a:srgbClr val="172B4D"/>
                </a:solidFill>
              </a:rPr>
              <a:t>The dealership is already selected (ES-S 004 / ES-S 006)</a:t>
            </a:r>
          </a:p>
          <a:p>
            <a:r>
              <a:rPr lang="en-US" sz="1400" dirty="0">
                <a:solidFill>
                  <a:srgbClr val="172B4D"/>
                </a:solidFill>
              </a:rPr>
              <a:t>The</a:t>
            </a: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 transaction price is already negotiated offline between user and sales manager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  <a:endParaRPr lang="en-US" sz="1400" dirty="0" smtClean="0">
              <a:solidFill>
                <a:srgbClr val="172B4D"/>
              </a:solidFill>
            </a:endParaRPr>
          </a:p>
          <a:p>
            <a:r>
              <a:rPr lang="en-US" sz="14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Pre-Conditions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rgbClr val="172B4D"/>
                </a:solidFill>
              </a:rPr>
              <a:t> Customer should be allowed to </a:t>
            </a:r>
            <a:r>
              <a:rPr lang="en-US" sz="1400" dirty="0" smtClean="0">
                <a:solidFill>
                  <a:srgbClr val="172B4D"/>
                </a:solidFill>
              </a:rPr>
              <a:t>filter </a:t>
            </a:r>
            <a:r>
              <a:rPr lang="en-US" sz="1400" dirty="0">
                <a:solidFill>
                  <a:srgbClr val="172B4D"/>
                </a:solidFill>
              </a:rPr>
              <a:t>BMW Vehicle from various filter parameters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rgbClr val="172B4D"/>
                </a:solidFill>
              </a:rPr>
              <a:t> Most up to date </a:t>
            </a:r>
            <a:r>
              <a:rPr lang="en-US" sz="1400" dirty="0" smtClean="0">
                <a:solidFill>
                  <a:srgbClr val="172B4D"/>
                </a:solidFill>
              </a:rPr>
              <a:t>vehicle product </a:t>
            </a:r>
            <a:r>
              <a:rPr lang="en-US" sz="1400" dirty="0">
                <a:solidFill>
                  <a:srgbClr val="172B4D"/>
                </a:solidFill>
              </a:rPr>
              <a:t>information is available for customer to choose. </a:t>
            </a:r>
          </a:p>
          <a:p>
            <a:pPr marL="0" lv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The user selected the Brand BMW / MINI and the CI is changing to either BMW or MINI respectively.</a:t>
            </a: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The </a:t>
            </a:r>
            <a:r>
              <a:rPr lang="en-US" sz="1400" dirty="0" smtClean="0">
                <a:solidFill>
                  <a:srgbClr val="172B4D"/>
                </a:solidFill>
              </a:rPr>
              <a:t>user selected </a:t>
            </a:r>
            <a:r>
              <a:rPr lang="en-US" sz="1400" dirty="0">
                <a:solidFill>
                  <a:srgbClr val="172B4D"/>
                </a:solidFill>
              </a:rPr>
              <a:t>the </a:t>
            </a:r>
            <a:r>
              <a:rPr lang="en-US" sz="1400" dirty="0" smtClean="0">
                <a:solidFill>
                  <a:srgbClr val="172B4D"/>
                </a:solidFill>
              </a:rPr>
              <a:t>vehicle series by </a:t>
            </a:r>
            <a:r>
              <a:rPr lang="en-US" sz="1400" dirty="0">
                <a:solidFill>
                  <a:srgbClr val="172B4D"/>
                </a:solidFill>
              </a:rPr>
              <a:t>clicking / </a:t>
            </a:r>
            <a:r>
              <a:rPr lang="en-US" sz="1400" dirty="0" smtClean="0">
                <a:solidFill>
                  <a:srgbClr val="172B4D"/>
                </a:solidFill>
              </a:rPr>
              <a:t>swiping. A picture of the respective series is displayed.</a:t>
            </a:r>
            <a:endParaRPr lang="en-US" sz="14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The user </a:t>
            </a:r>
            <a:r>
              <a:rPr lang="en-US" sz="1400" dirty="0" smtClean="0">
                <a:solidFill>
                  <a:srgbClr val="172B4D"/>
                </a:solidFill>
              </a:rPr>
              <a:t>selected </a:t>
            </a:r>
            <a:r>
              <a:rPr lang="en-US" sz="1400" dirty="0">
                <a:solidFill>
                  <a:srgbClr val="172B4D"/>
                </a:solidFill>
              </a:rPr>
              <a:t>the </a:t>
            </a:r>
            <a:r>
              <a:rPr lang="en-US" sz="1400" dirty="0" smtClean="0">
                <a:solidFill>
                  <a:srgbClr val="172B4D"/>
                </a:solidFill>
              </a:rPr>
              <a:t>vehicle model (drop down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 </a:t>
            </a:r>
            <a:r>
              <a:rPr lang="en-US" sz="1400" dirty="0">
                <a:solidFill>
                  <a:srgbClr val="172B4D"/>
                </a:solidFill>
              </a:rPr>
              <a:t>The user selected the vehicle </a:t>
            </a:r>
            <a:r>
              <a:rPr lang="en-US" sz="1400" dirty="0" smtClean="0">
                <a:solidFill>
                  <a:srgbClr val="172B4D"/>
                </a:solidFill>
              </a:rPr>
              <a:t>package (drop </a:t>
            </a:r>
            <a:r>
              <a:rPr lang="en-US" sz="1400" dirty="0">
                <a:solidFill>
                  <a:srgbClr val="172B4D"/>
                </a:solidFill>
              </a:rPr>
              <a:t>down</a:t>
            </a:r>
            <a:r>
              <a:rPr lang="en-US" sz="1400" dirty="0" smtClean="0">
                <a:solidFill>
                  <a:srgbClr val="172B4D"/>
                </a:solidFill>
              </a:rPr>
              <a:t>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The MSRP of the selected vehicle series, model &amp; package is displayed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As a </a:t>
            </a:r>
            <a:r>
              <a:rPr lang="en-US" sz="1400" dirty="0">
                <a:solidFill>
                  <a:srgbClr val="172B4D"/>
                </a:solidFill>
              </a:rPr>
              <a:t>user I get a disclaimer displayed that this is not the actual vehicle and it might be not available, the purpose of the vehicle choosing is to start the application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Once the car is selected the user can click next and enters </a:t>
            </a:r>
            <a:r>
              <a:rPr lang="en-US" sz="1400" dirty="0" smtClean="0">
                <a:solidFill>
                  <a:srgbClr val="172B4D"/>
                </a:solidFill>
              </a:rPr>
              <a:t>“transaction price confirmation price page” 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005 </a:t>
            </a:r>
            <a:endParaRPr lang="en-US" sz="1400" dirty="0" smtClean="0"/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The </a:t>
            </a:r>
            <a:r>
              <a:rPr lang="en-US" sz="1400" dirty="0">
                <a:solidFill>
                  <a:srgbClr val="172B4D"/>
                </a:solidFill>
              </a:rPr>
              <a:t>user can click back button and enters landing page</a:t>
            </a:r>
          </a:p>
          <a:p>
            <a:pPr marL="342900" lvl="0" indent="-342900">
              <a:buAutoNum type="arabicPeriod"/>
            </a:pPr>
            <a:endParaRPr lang="en-US" sz="14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92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1</a:t>
            </a:r>
            <a:br>
              <a:rPr lang="en-US" dirty="0" smtClean="0"/>
            </a:br>
            <a:r>
              <a:rPr lang="en-US" dirty="0" smtClean="0"/>
              <a:t>Vehicle Selectio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45" name="Content Placeholder 2"/>
          <p:cNvSpPr txBox="1">
            <a:spLocks/>
          </p:cNvSpPr>
          <p:nvPr/>
        </p:nvSpPr>
        <p:spPr>
          <a:xfrm>
            <a:off x="6330644" y="2773114"/>
            <a:ext cx="2298052" cy="104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Vehicle selection for customer should be easy, only include series, model, package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vehicle picture to show with series selection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Languages in Chinese and English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smtClean="0"/>
              <a:t>BMW and MINI CI</a:t>
            </a:r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8984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Rectangle 4"/>
          <p:cNvSpPr/>
          <p:nvPr/>
        </p:nvSpPr>
        <p:spPr>
          <a:xfrm>
            <a:off x="697426" y="1526796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9119019" y="1526795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Vehicle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Series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  <a:endParaRPr lang="en-US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ackag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75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8761028" y="1412874"/>
            <a:ext cx="2952605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24219" y="1412875"/>
            <a:ext cx="5639815" cy="515812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1</a:t>
            </a:r>
            <a:br>
              <a:rPr lang="en-US" dirty="0"/>
            </a:br>
            <a:r>
              <a:rPr lang="en-US" dirty="0"/>
              <a:t>Vehicle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831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48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350" y="1535797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Oval 12"/>
          <p:cNvSpPr/>
          <p:nvPr/>
        </p:nvSpPr>
        <p:spPr>
          <a:xfrm>
            <a:off x="1552575" y="540067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628774" y="547687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266890" y="2344738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5343089" y="2420937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4181040" y="2930525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257239" y="3006724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357251" y="5430839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433450" y="5507038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8083886" y="39163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8160085" y="39925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6998417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7074616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8180004" y="460216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8256203" y="467836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174628" y="5415982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7250827" y="5492181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6066831" y="3840163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6143030" y="3916362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697" y="1532623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0" b="16655"/>
          <a:stretch/>
        </p:blipFill>
        <p:spPr>
          <a:xfrm>
            <a:off x="8829745" y="2258560"/>
            <a:ext cx="2554696" cy="1785257"/>
          </a:xfrm>
          <a:prstGeom prst="rect">
            <a:avLst/>
          </a:prstGeom>
          <a:ln>
            <a:noFill/>
          </a:ln>
        </p:spPr>
      </p:pic>
      <p:sp>
        <p:nvSpPr>
          <p:cNvPr id="37" name="Rectangle 36"/>
          <p:cNvSpPr/>
          <p:nvPr/>
        </p:nvSpPr>
        <p:spPr>
          <a:xfrm>
            <a:off x="10907618" y="2544762"/>
            <a:ext cx="493977" cy="4953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845974" y="2544762"/>
            <a:ext cx="493977" cy="4191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8839152" y="4043817"/>
            <a:ext cx="2545289" cy="13568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8897380" y="3340099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856306" y="4128403"/>
            <a:ext cx="2444627" cy="3796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Negotiated 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42" name="Rectangle 41"/>
          <p:cNvSpPr/>
          <p:nvPr/>
        </p:nvSpPr>
        <p:spPr>
          <a:xfrm>
            <a:off x="9092962" y="4420054"/>
            <a:ext cx="1924226" cy="329065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43" name="Oval 42"/>
          <p:cNvSpPr/>
          <p:nvPr/>
        </p:nvSpPr>
        <p:spPr>
          <a:xfrm>
            <a:off x="10358070" y="4313924"/>
            <a:ext cx="504825" cy="485775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10434269" y="4390123"/>
            <a:ext cx="352425" cy="333375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8917916" y="4862482"/>
            <a:ext cx="2403553" cy="466906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538603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1</a:t>
            </a:r>
            <a:br>
              <a:rPr lang="en-US" dirty="0"/>
            </a:br>
            <a:r>
              <a:rPr lang="en-US" dirty="0"/>
              <a:t>Vehicle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87366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Vehicle</a:t>
            </a:r>
            <a:r>
              <a:rPr lang="en-US" sz="1400" b="0" i="0" u="none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Selection 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3150252" y="2247629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Main Applicant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173112" y="4864425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F&amp;I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3173112" y="3556027"/>
            <a:ext cx="1114097" cy="118137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User: Co-Borrower /Guarantor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585845" y="2247629"/>
            <a:ext cx="1114097" cy="379816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3009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1</a:t>
            </a:r>
            <a:br>
              <a:rPr lang="en-US" dirty="0"/>
            </a:br>
            <a:r>
              <a:rPr lang="en-US" dirty="0"/>
              <a:t>Vehicle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263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002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Vehicle Information and Pi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have the information of the vehicle displayed (pictures, options</a:t>
            </a:r>
            <a:r>
              <a:rPr lang="en-US" dirty="0" smtClean="0"/>
              <a:t>,...)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so </a:t>
            </a:r>
            <a:r>
              <a:rPr lang="en-US" dirty="0"/>
              <a:t>that I can see which car I want to purchase / finance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The vehicle and the transaction price is already negotiated offline between user and sales manager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No pipeline check necessary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 is logged in / registered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XXX</a:t>
            </a:r>
            <a:endParaRPr lang="en-US" sz="16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The user selected the vehicle series by clicking / swiping. A picture of the respective series is displayed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Options of the vehicle can be selected the prices / pictures are displayed 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646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dirty="0" smtClean="0"/>
              <a:t>ES-S </a:t>
            </a:r>
            <a:r>
              <a:rPr lang="en-US" dirty="0"/>
              <a:t>002</a:t>
            </a:r>
            <a:br>
              <a:rPr lang="en-US" dirty="0"/>
            </a:br>
            <a:r>
              <a:rPr lang="en-US" dirty="0"/>
              <a:t>Vehicle Information an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/>
          <a:srcRect l="2796" t="5352" r="2385" b="81591"/>
          <a:stretch/>
        </p:blipFill>
        <p:spPr>
          <a:xfrm>
            <a:off x="4744946" y="2344795"/>
            <a:ext cx="2702108" cy="77119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/>
          <a:srcRect l="1873" t="50526" r="2375" b="3263"/>
          <a:stretch/>
        </p:blipFill>
        <p:spPr>
          <a:xfrm>
            <a:off x="4744946" y="3125874"/>
            <a:ext cx="2702108" cy="2295846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21" name="TextBox 20"/>
          <p:cNvSpPr txBox="1"/>
          <p:nvPr/>
        </p:nvSpPr>
        <p:spPr>
          <a:xfrm>
            <a:off x="4794261" y="4441891"/>
            <a:ext cx="577402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odel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318984" y="4458493"/>
            <a:ext cx="720325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ckag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359288" y="3242410"/>
            <a:ext cx="1473423" cy="102667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5468108" y="1052513"/>
            <a:ext cx="2946400" cy="1373996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icture?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ptions?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SP Products?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9900" y="1526794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119019" y="1526795"/>
            <a:ext cx="2603081" cy="4594605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27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526</Words>
  <Application>Microsoft Office PowerPoint</Application>
  <PresentationFormat>Widescreen</PresentationFormat>
  <Paragraphs>268</Paragraphs>
  <Slides>27</Slides>
  <Notes>0</Notes>
  <HiddenSlides>1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Wingdings</vt:lpstr>
      <vt:lpstr>BMW Group 16:9</vt:lpstr>
      <vt:lpstr>PowerPoint Presentation</vt:lpstr>
      <vt:lpstr>EF-EP-004: Products Selection (Dealer &amp; Vehicle)</vt:lpstr>
      <vt:lpstr>Story ID: EF-EP-004-ES-S 001: </vt:lpstr>
      <vt:lpstr>Story ID: EF-EP-004-ES-S 001 Vehicle Selection </vt:lpstr>
      <vt:lpstr>Story ID: EF-EP-004-ES-S 001 Vehicle Selection</vt:lpstr>
      <vt:lpstr>Story ID: EF-EP-004-ES-S 001 Vehicle Selection</vt:lpstr>
      <vt:lpstr>Story ID: EF-EP-004-ES-S 001 Vehicle Selection</vt:lpstr>
      <vt:lpstr>Story ID: EF-EP-004-ES-S 002: Vehicle Information and Picture</vt:lpstr>
      <vt:lpstr>Story ID: EF-EP-004-ES-S 002 Vehicle Information and Picture</vt:lpstr>
      <vt:lpstr>Story ID: EF-EP-004-ES-S 002 Vehicle Information and Picture</vt:lpstr>
      <vt:lpstr>Story ID: EF-EP-004-ES-S 002 Vehicle Information and Picture</vt:lpstr>
      <vt:lpstr>Story ID: EF-EP-004-ES-S 002 Vehicle Information and Picture </vt:lpstr>
      <vt:lpstr>Story ID: EF-EP-004-ES-S 004: Select Dealership</vt:lpstr>
      <vt:lpstr>Story ID: EF-EP-004-ES-S 004 Select Dealership</vt:lpstr>
      <vt:lpstr>Story ID: EF-EP-004-ES-S 004 Select Dealership</vt:lpstr>
      <vt:lpstr>Story ID: EF-EP-004-ES-S 004 Select Dealership</vt:lpstr>
      <vt:lpstr>Story ID: EF-EP-004-ES-S 004 Select Dealership </vt:lpstr>
      <vt:lpstr>Story ID: EF-EP-004-ES-S 005: Quotation Price  </vt:lpstr>
      <vt:lpstr>Story ID: EF-EP-004-ES-S 005 Quotation Price</vt:lpstr>
      <vt:lpstr>Story ID: EF-EP-004-ES-S 005 Quotation Price</vt:lpstr>
      <vt:lpstr>Story ID: EF-EP-004-ES-S 005 Quotation Price</vt:lpstr>
      <vt:lpstr>Story ID: EF-EP-004-ES-S 005 Quotation Price</vt:lpstr>
      <vt:lpstr>Story ID: EF-EP-004-ES-S 006: LBS Dealership selection </vt:lpstr>
      <vt:lpstr>Story ID: EF-EP-004-ES-S 006 LBS Dealership selection </vt:lpstr>
      <vt:lpstr>Story ID: EF-EP-004-ES-S 006 LBS Dealership selection </vt:lpstr>
      <vt:lpstr>Story ID: EF-EP-004-ES-S 006 LBS Dealership selection </vt:lpstr>
      <vt:lpstr>Story ID: EF-EP-004-ES-S 006 LBS Dealership selection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Befelein Maximilian, SF5-CN-V-23</cp:lastModifiedBy>
  <cp:revision>220</cp:revision>
  <dcterms:created xsi:type="dcterms:W3CDTF">2017-04-27T07:24:45Z</dcterms:created>
  <dcterms:modified xsi:type="dcterms:W3CDTF">2018-10-18T08:56:33Z</dcterms:modified>
</cp:coreProperties>
</file>